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4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4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422" y="114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4/07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4/07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433640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4 July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E1F9AF7-EEA8-42DC-AB9E-7E0C6637B88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72906388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microsoft.com/office/2007/relationships/hdphoto" Target="../media/hdphoto1.wdp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Relationship Id="rId9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88"/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88982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 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en-US" altLang="fr-FR" dirty="0"/>
              <a:t>Reduce your maintenance cost and improve efficiency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55466"/>
            <a:ext cx="7997825" cy="307975"/>
          </a:xfrm>
        </p:spPr>
        <p:txBody>
          <a:bodyPr/>
          <a:lstStyle/>
          <a:p>
            <a:r>
              <a:rPr lang="en-US" dirty="0"/>
              <a:t>Pneumatic Grippers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en-GB" sz="1200" b="1" dirty="0"/>
              <a:t>Maintenance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200" dirty="0"/>
              <a:t>New pneumatic grippers improve lifetime of the device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200" dirty="0"/>
              <a:t>Are more resistant to impact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200" dirty="0"/>
              <a:t>Less maintenance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200" dirty="0"/>
              <a:t>Reduction in wear of the capping components.</a:t>
            </a:r>
          </a:p>
          <a:p>
            <a:pPr>
              <a:buClr>
                <a:schemeClr val="accent4"/>
              </a:buClr>
            </a:pPr>
            <a:endParaRPr lang="en-GB" sz="1200" b="1" dirty="0"/>
          </a:p>
          <a:p>
            <a:pPr>
              <a:buClr>
                <a:schemeClr val="accent4"/>
              </a:buClr>
            </a:pPr>
            <a:r>
              <a:rPr lang="en-GB" sz="1200" b="1" dirty="0"/>
              <a:t>Efficiency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200" dirty="0"/>
              <a:t>Precise bottle grip and release</a:t>
            </a:r>
            <a:endParaRPr lang="en-US" sz="1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259383"/>
            <a:ext cx="3889375" cy="220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The </a:t>
            </a:r>
            <a:r>
              <a:rPr lang="en-GB" sz="1200" dirty="0"/>
              <a:t>old device has a pneumatic TPE membrane air activated by a compression on the bottleneck which  </a:t>
            </a:r>
          </a:p>
          <a:p>
            <a:pPr>
              <a:buClr>
                <a:schemeClr val="accent4"/>
              </a:buClr>
            </a:pPr>
            <a:r>
              <a:rPr lang="en-GB" sz="1200" dirty="0"/>
              <a:t>    requires frequent replacements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200" dirty="0"/>
              <a:t>With the new device there is no membrane installed but « Fingers » with a pneumatic/mechanical functioning. 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200" dirty="0"/>
              <a:t>The grip is on the bottleneck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200" dirty="0"/>
              <a:t>It is more resistant to impact with bottle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200" dirty="0"/>
              <a:t>Wide range grip diameter (ID= 35-42-48; OD= 52,5 - 58-65-72 mm).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BAAB01B-3DA2-41F6-9B0C-FC8820B25AFD}"/>
              </a:ext>
            </a:extLst>
          </p:cNvPr>
          <p:cNvSpPr txBox="1">
            <a:spLocks/>
          </p:cNvSpPr>
          <p:nvPr/>
        </p:nvSpPr>
        <p:spPr>
          <a:xfrm>
            <a:off x="642609" y="5891409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</a:rPr>
              <a:t>Value: Maintenance, Efficiency</a:t>
            </a:r>
          </a:p>
          <a:p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</a:rPr>
              <a:t>Equipment: Pal/</a:t>
            </a:r>
            <a:r>
              <a:rPr lang="en-US" sz="800" dirty="0" err="1">
                <a:solidFill>
                  <a:srgbClr val="000000"/>
                </a:solidFill>
                <a:latin typeface="Arial" panose="020B0604020202020204" pitchFamily="34" charset="0"/>
              </a:rPr>
              <a:t>Depal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</a:rPr>
              <a:t> (PR)</a:t>
            </a:r>
          </a:p>
          <a:p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</a:rPr>
              <a:t>Catalogue code: EOL-008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04FEB90-C60F-46DF-B2BE-546793BC52FD}"/>
              </a:ext>
            </a:extLst>
          </p:cNvPr>
          <p:cNvPicPr/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5127" y="4152928"/>
            <a:ext cx="685797" cy="15992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AEFA7C7-29A2-4FA2-9B72-56B83CBEEC7D}"/>
              </a:ext>
            </a:extLst>
          </p:cNvPr>
          <p:cNvPicPr/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1825" y="4187940"/>
            <a:ext cx="761322" cy="15210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5" name="Arrow: Right 24">
            <a:extLst>
              <a:ext uri="{FF2B5EF4-FFF2-40B4-BE49-F238E27FC236}">
                <a16:creationId xmlns:a16="http://schemas.microsoft.com/office/drawing/2014/main" id="{86ADFBF0-D0C2-4EB5-98CD-9A2C04B3DF4D}"/>
              </a:ext>
            </a:extLst>
          </p:cNvPr>
          <p:cNvSpPr/>
          <p:nvPr/>
        </p:nvSpPr>
        <p:spPr>
          <a:xfrm>
            <a:off x="6336238" y="4882098"/>
            <a:ext cx="685798" cy="214495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</p:spTree>
    <p:extLst>
      <p:ext uri="{BB962C8B-B14F-4D97-AF65-F5344CB8AC3E}">
        <p14:creationId xmlns:p14="http://schemas.microsoft.com/office/powerpoint/2010/main" val="3987683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2</TotalTime>
  <Words>136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Reduce your maintenance cost and improve efficienc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79</cp:revision>
  <cp:lastPrinted>2019-06-12T12:46:07Z</cp:lastPrinted>
  <dcterms:created xsi:type="dcterms:W3CDTF">2017-07-10T14:51:51Z</dcterms:created>
  <dcterms:modified xsi:type="dcterms:W3CDTF">2020-07-24T13:03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andrea.pedretti@gebocermex.com</vt:lpwstr>
  </property>
  <property fmtid="{D5CDD505-2E9C-101B-9397-08002B2CF9AE}" pid="7" name="MSIP_Label_94480757-a570-4f64-84e7-c5b3ffe9d573_SetDate">
    <vt:lpwstr>2019-05-30T13:19:45.6123610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1f25b6fc-49ab-4edd-ab0d-a19355d82709_Enabled">
    <vt:lpwstr>True</vt:lpwstr>
  </property>
  <property fmtid="{D5CDD505-2E9C-101B-9397-08002B2CF9AE}" pid="12" name="MSIP_Label_1f25b6fc-49ab-4edd-ab0d-a19355d82709_SiteId">
    <vt:lpwstr>2390cbd1-e663-4321-bc93-ba298637ce52</vt:lpwstr>
  </property>
  <property fmtid="{D5CDD505-2E9C-101B-9397-08002B2CF9AE}" pid="13" name="MSIP_Label_1f25b6fc-49ab-4edd-ab0d-a19355d82709_Owner">
    <vt:lpwstr>andrea.pedretti@gebocermex.com</vt:lpwstr>
  </property>
  <property fmtid="{D5CDD505-2E9C-101B-9397-08002B2CF9AE}" pid="14" name="MSIP_Label_1f25b6fc-49ab-4edd-ab0d-a19355d82709_SetDate">
    <vt:lpwstr>2018-12-20T11:02:58.8854259+01:00</vt:lpwstr>
  </property>
  <property fmtid="{D5CDD505-2E9C-101B-9397-08002B2CF9AE}" pid="15" name="MSIP_Label_1f25b6fc-49ab-4edd-ab0d-a19355d82709_Name">
    <vt:lpwstr>Sidel-Public</vt:lpwstr>
  </property>
  <property fmtid="{D5CDD505-2E9C-101B-9397-08002B2CF9AE}" pid="16" name="MSIP_Label_1f25b6fc-49ab-4edd-ab0d-a19355d82709_Application">
    <vt:lpwstr>Microsoft Azure Information Protection</vt:lpwstr>
  </property>
  <property fmtid="{D5CDD505-2E9C-101B-9397-08002B2CF9AE}" pid="17" name="MSIP_Label_1f25b6fc-49ab-4edd-ab0d-a19355d82709_Extended_MSFT_Method">
    <vt:lpwstr>Manual</vt:lpwstr>
  </property>
  <property fmtid="{D5CDD505-2E9C-101B-9397-08002B2CF9AE}" pid="18" name="Sensitivity">
    <vt:lpwstr>General Sidel-Public</vt:lpwstr>
  </property>
</Properties>
</file>